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7556500" cy="10693400"/>
  <p:notesSz cx="6858000" cy="9144000"/>
  <p:embeddedFontLst>
    <p:embeddedFont>
      <p:font typeface="Calibri" panose="020F0502020204030204" pitchFamily="34" charset="0"/>
      <p:regular r:id="rId3"/>
      <p:bold r:id="rId4"/>
      <p:italic r:id="rId5"/>
      <p:boldItalic r:id="rId6"/>
    </p:embeddedFont>
    <p:embeddedFont>
      <p:font typeface="Prompt" panose="00000500000000000000" pitchFamily="2" charset="-34"/>
      <p:regular r:id="rId7"/>
      <p:bold r:id="rId8"/>
      <p:italic r:id="rId9"/>
    </p:embeddedFont>
    <p:embeddedFont>
      <p:font typeface="Prompt Medium" panose="00000600000000000000" pitchFamily="2" charset="-34"/>
      <p:regular r:id="rId10"/>
      <p:italic r:id="rId11"/>
    </p:embeddedFont>
    <p:embeddedFont>
      <p:font typeface="Prompt SemiBold" panose="00000700000000000000" pitchFamily="2" charset="-34"/>
      <p:bold r:id="rId12"/>
      <p:boldItalic r:id="rId13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5" autoAdjust="0"/>
    <p:restoredTop sz="94564" autoAdjust="0"/>
  </p:normalViewPr>
  <p:slideViewPr>
    <p:cSldViewPr>
      <p:cViewPr>
        <p:scale>
          <a:sx n="400" d="100"/>
          <a:sy n="400" d="100"/>
        </p:scale>
        <p:origin x="384" y="-89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font" Target="fonts/font11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font" Target="fonts/font10.fntdata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viewProps" Target="viewProp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oup 1">
            <a:extLst>
              <a:ext uri="{FF2B5EF4-FFF2-40B4-BE49-F238E27FC236}">
                <a16:creationId xmlns:a16="http://schemas.microsoft.com/office/drawing/2014/main" id="{8A2DD651-111B-76AE-CA5F-CD3AF0D77021}"/>
              </a:ext>
            </a:extLst>
          </p:cNvPr>
          <p:cNvGrpSpPr/>
          <p:nvPr/>
        </p:nvGrpSpPr>
        <p:grpSpPr>
          <a:xfrm>
            <a:off x="0" y="0"/>
            <a:ext cx="7556500" cy="10693401"/>
            <a:chOff x="0" y="0"/>
            <a:chExt cx="7556500" cy="10693401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A46A8C38-BA15-1490-E60A-2456BFBBE99B}"/>
                </a:ext>
              </a:extLst>
            </p:cNvPr>
            <p:cNvGrpSpPr/>
            <p:nvPr/>
          </p:nvGrpSpPr>
          <p:grpSpPr>
            <a:xfrm>
              <a:off x="0" y="10266494"/>
              <a:ext cx="7158420" cy="426907"/>
              <a:chOff x="0" y="10266494"/>
              <a:chExt cx="7158420" cy="426907"/>
            </a:xfrm>
          </p:grpSpPr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AC72C690-DC55-CA90-5420-8BBB79B36DB3}"/>
                  </a:ext>
                </a:extLst>
              </p:cNvPr>
              <p:cNvSpPr/>
              <p:nvPr/>
            </p:nvSpPr>
            <p:spPr>
              <a:xfrm>
                <a:off x="0" y="10266494"/>
                <a:ext cx="7158420" cy="426907"/>
              </a:xfrm>
              <a:custGeom>
                <a:avLst/>
                <a:gdLst>
                  <a:gd name="connsiteX0" fmla="*/ 0 w 7158420"/>
                  <a:gd name="connsiteY0" fmla="*/ 0 h 426907"/>
                  <a:gd name="connsiteX1" fmla="*/ 6987196 w 7158420"/>
                  <a:gd name="connsiteY1" fmla="*/ 0 h 426907"/>
                  <a:gd name="connsiteX2" fmla="*/ 7025264 w 7158420"/>
                  <a:gd name="connsiteY2" fmla="*/ 27437 h 426907"/>
                  <a:gd name="connsiteX3" fmla="*/ 7158420 w 7158420"/>
                  <a:gd name="connsiteY3" fmla="*/ 426907 h 426907"/>
                  <a:gd name="connsiteX4" fmla="*/ 0 w 7158420"/>
                  <a:gd name="connsiteY4" fmla="*/ 426907 h 426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58420" h="426907">
                    <a:moveTo>
                      <a:pt x="0" y="0"/>
                    </a:moveTo>
                    <a:lnTo>
                      <a:pt x="6987196" y="0"/>
                    </a:lnTo>
                    <a:cubicBezTo>
                      <a:pt x="7004467" y="0"/>
                      <a:pt x="7019801" y="11052"/>
                      <a:pt x="7025264" y="27437"/>
                    </a:cubicBezTo>
                    <a:lnTo>
                      <a:pt x="7158420" y="426907"/>
                    </a:lnTo>
                    <a:lnTo>
                      <a:pt x="0" y="426907"/>
                    </a:lnTo>
                    <a:close/>
                  </a:path>
                </a:pathLst>
              </a:custGeom>
              <a:solidFill>
                <a:srgbClr val="FEF1EB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5E5FC36-D088-9A68-E98E-C84FE0DD2F9A}"/>
                  </a:ext>
                </a:extLst>
              </p:cNvPr>
              <p:cNvSpPr/>
              <p:nvPr/>
            </p:nvSpPr>
            <p:spPr>
              <a:xfrm>
                <a:off x="1" y="10266494"/>
                <a:ext cx="6980761" cy="426907"/>
              </a:xfrm>
              <a:custGeom>
                <a:avLst/>
                <a:gdLst>
                  <a:gd name="connsiteX0" fmla="*/ 0 w 6980761"/>
                  <a:gd name="connsiteY0" fmla="*/ 0 h 426907"/>
                  <a:gd name="connsiteX1" fmla="*/ 6809537 w 6980761"/>
                  <a:gd name="connsiteY1" fmla="*/ 0 h 426907"/>
                  <a:gd name="connsiteX2" fmla="*/ 6847605 w 6980761"/>
                  <a:gd name="connsiteY2" fmla="*/ 27437 h 426907"/>
                  <a:gd name="connsiteX3" fmla="*/ 6980761 w 6980761"/>
                  <a:gd name="connsiteY3" fmla="*/ 426907 h 426907"/>
                  <a:gd name="connsiteX4" fmla="*/ 0 w 6980761"/>
                  <a:gd name="connsiteY4" fmla="*/ 426907 h 4269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80761" h="426907">
                    <a:moveTo>
                      <a:pt x="0" y="0"/>
                    </a:moveTo>
                    <a:lnTo>
                      <a:pt x="6809537" y="0"/>
                    </a:lnTo>
                    <a:cubicBezTo>
                      <a:pt x="6826808" y="0"/>
                      <a:pt x="6842142" y="11052"/>
                      <a:pt x="6847605" y="27437"/>
                    </a:cubicBezTo>
                    <a:lnTo>
                      <a:pt x="6980761" y="426907"/>
                    </a:lnTo>
                    <a:lnTo>
                      <a:pt x="0" y="426907"/>
                    </a:lnTo>
                    <a:close/>
                  </a:path>
                </a:pathLst>
              </a:custGeom>
              <a:solidFill>
                <a:srgbClr val="F8723E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983F419C-C824-D346-145B-C70033A5150A}"/>
                </a:ext>
              </a:extLst>
            </p:cNvPr>
            <p:cNvGrpSpPr/>
            <p:nvPr/>
          </p:nvGrpSpPr>
          <p:grpSpPr>
            <a:xfrm>
              <a:off x="587692" y="8335312"/>
              <a:ext cx="6384615" cy="1309146"/>
              <a:chOff x="587692" y="8335312"/>
              <a:chExt cx="6384615" cy="1309146"/>
            </a:xfrm>
          </p:grpSpPr>
          <p:sp>
            <p:nvSpPr>
              <p:cNvPr id="40" name="AutoShape 40"/>
              <p:cNvSpPr/>
              <p:nvPr/>
            </p:nvSpPr>
            <p:spPr>
              <a:xfrm>
                <a:off x="587692" y="8591208"/>
                <a:ext cx="6384615" cy="0"/>
              </a:xfrm>
              <a:prstGeom prst="line">
                <a:avLst/>
              </a:prstGeom>
              <a:ln w="25400" cap="flat">
                <a:solidFill>
                  <a:srgbClr val="F8723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" name="AutoShape 41"/>
              <p:cNvSpPr/>
              <p:nvPr/>
            </p:nvSpPr>
            <p:spPr>
              <a:xfrm>
                <a:off x="587692" y="8942291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AutoShape 42"/>
              <p:cNvSpPr/>
              <p:nvPr/>
            </p:nvSpPr>
            <p:spPr>
              <a:xfrm>
                <a:off x="587692" y="9293374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AutoShape 43"/>
              <p:cNvSpPr/>
              <p:nvPr/>
            </p:nvSpPr>
            <p:spPr>
              <a:xfrm>
                <a:off x="587692" y="9644458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587692" y="8335312"/>
                <a:ext cx="1802290" cy="1596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SemiBold" panose="00000700000000000000" pitchFamily="2" charset="-34"/>
                  </a:rPr>
                  <a:t>NOTES</a:t>
                </a:r>
              </a:p>
            </p:txBody>
          </p:sp>
        </p:grp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22B1B16C-4920-E923-5C09-6B7A82281745}"/>
                </a:ext>
              </a:extLst>
            </p:cNvPr>
            <p:cNvGrpSpPr/>
            <p:nvPr/>
          </p:nvGrpSpPr>
          <p:grpSpPr>
            <a:xfrm>
              <a:off x="587692" y="4423821"/>
              <a:ext cx="6384615" cy="3303742"/>
              <a:chOff x="587692" y="4423821"/>
              <a:chExt cx="6384615" cy="3303742"/>
            </a:xfrm>
          </p:grpSpPr>
          <p:sp>
            <p:nvSpPr>
              <p:cNvPr id="17" name="Freeform 17"/>
              <p:cNvSpPr/>
              <p:nvPr/>
            </p:nvSpPr>
            <p:spPr>
              <a:xfrm>
                <a:off x="587692" y="6114179"/>
                <a:ext cx="6384615" cy="536207"/>
              </a:xfrm>
              <a:custGeom>
                <a:avLst/>
                <a:gdLst/>
                <a:ahLst/>
                <a:cxnLst/>
                <a:rect l="l" t="t" r="r" b="b"/>
                <a:pathLst>
                  <a:path w="2288102" h="192165">
                    <a:moveTo>
                      <a:pt x="0" y="0"/>
                    </a:moveTo>
                    <a:lnTo>
                      <a:pt x="2288102" y="0"/>
                    </a:lnTo>
                    <a:lnTo>
                      <a:pt x="2288102" y="192165"/>
                    </a:lnTo>
                    <a:lnTo>
                      <a:pt x="0" y="192165"/>
                    </a:lnTo>
                    <a:close/>
                  </a:path>
                </a:pathLst>
              </a:custGeom>
              <a:solidFill>
                <a:srgbClr val="FFFA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" name="Freeform 20"/>
              <p:cNvSpPr/>
              <p:nvPr/>
            </p:nvSpPr>
            <p:spPr>
              <a:xfrm>
                <a:off x="587692" y="7186594"/>
                <a:ext cx="6384615" cy="536207"/>
              </a:xfrm>
              <a:custGeom>
                <a:avLst/>
                <a:gdLst/>
                <a:ahLst/>
                <a:cxnLst/>
                <a:rect l="l" t="t" r="r" b="b"/>
                <a:pathLst>
                  <a:path w="2288102" h="192165">
                    <a:moveTo>
                      <a:pt x="0" y="0"/>
                    </a:moveTo>
                    <a:lnTo>
                      <a:pt x="2288102" y="0"/>
                    </a:lnTo>
                    <a:lnTo>
                      <a:pt x="2288102" y="192165"/>
                    </a:lnTo>
                    <a:lnTo>
                      <a:pt x="0" y="192165"/>
                    </a:lnTo>
                    <a:close/>
                  </a:path>
                </a:pathLst>
              </a:custGeom>
              <a:solidFill>
                <a:srgbClr val="FFFA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3" name="Freeform 23"/>
              <p:cNvSpPr/>
              <p:nvPr/>
            </p:nvSpPr>
            <p:spPr>
              <a:xfrm>
                <a:off x="587692" y="5051290"/>
                <a:ext cx="6384615" cy="536207"/>
              </a:xfrm>
              <a:custGeom>
                <a:avLst/>
                <a:gdLst/>
                <a:ahLst/>
                <a:cxnLst/>
                <a:rect l="l" t="t" r="r" b="b"/>
                <a:pathLst>
                  <a:path w="2288102" h="192165">
                    <a:moveTo>
                      <a:pt x="0" y="0"/>
                    </a:moveTo>
                    <a:lnTo>
                      <a:pt x="2288102" y="0"/>
                    </a:lnTo>
                    <a:lnTo>
                      <a:pt x="2288102" y="192165"/>
                    </a:lnTo>
                    <a:lnTo>
                      <a:pt x="0" y="192165"/>
                    </a:lnTo>
                    <a:close/>
                  </a:path>
                </a:pathLst>
              </a:custGeom>
              <a:solidFill>
                <a:srgbClr val="FFFAF4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5" name="AutoShape 25"/>
              <p:cNvSpPr/>
              <p:nvPr/>
            </p:nvSpPr>
            <p:spPr>
              <a:xfrm flipH="1">
                <a:off x="587692" y="5046527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6" name="AutoShape 26"/>
              <p:cNvSpPr/>
              <p:nvPr/>
            </p:nvSpPr>
            <p:spPr>
              <a:xfrm flipH="1">
                <a:off x="587692" y="5582734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7" name="AutoShape 27"/>
              <p:cNvSpPr/>
              <p:nvPr/>
            </p:nvSpPr>
            <p:spPr>
              <a:xfrm flipH="1">
                <a:off x="587692" y="6118942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AutoShape 28"/>
              <p:cNvSpPr/>
              <p:nvPr/>
            </p:nvSpPr>
            <p:spPr>
              <a:xfrm flipH="1">
                <a:off x="587692" y="6655149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AutoShape 29"/>
              <p:cNvSpPr/>
              <p:nvPr/>
            </p:nvSpPr>
            <p:spPr>
              <a:xfrm flipH="1">
                <a:off x="587692" y="4694684"/>
                <a:ext cx="6384615" cy="0"/>
              </a:xfrm>
              <a:prstGeom prst="line">
                <a:avLst/>
              </a:prstGeom>
              <a:ln w="19050" cap="flat">
                <a:solidFill>
                  <a:srgbClr val="F8723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AutoShape 30"/>
              <p:cNvSpPr/>
              <p:nvPr/>
            </p:nvSpPr>
            <p:spPr>
              <a:xfrm flipH="1">
                <a:off x="587692" y="7191356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AutoShape 31"/>
              <p:cNvSpPr/>
              <p:nvPr/>
            </p:nvSpPr>
            <p:spPr>
              <a:xfrm flipH="1">
                <a:off x="5410028" y="5041765"/>
                <a:ext cx="0" cy="2681026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3712521" y="5041765"/>
                <a:ext cx="0" cy="2681026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3" name="AutoShape 33"/>
              <p:cNvSpPr/>
              <p:nvPr/>
            </p:nvSpPr>
            <p:spPr>
              <a:xfrm flipH="1">
                <a:off x="587692" y="7727563"/>
                <a:ext cx="6384615" cy="0"/>
              </a:xfrm>
              <a:prstGeom prst="line">
                <a:avLst/>
              </a:prstGeom>
              <a:ln w="9525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" name="TextBox 34"/>
              <p:cNvSpPr txBox="1"/>
              <p:nvPr/>
            </p:nvSpPr>
            <p:spPr>
              <a:xfrm>
                <a:off x="631716" y="4423821"/>
                <a:ext cx="1802290" cy="15965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>
                    <a:solidFill>
                      <a:srgbClr val="000000"/>
                    </a:solidFill>
                    <a:latin typeface="Prompt SemiBold" panose="00000700000000000000" pitchFamily="2" charset="-34"/>
                  </a:rPr>
                  <a:t>ACTION </a:t>
                </a:r>
                <a:r>
                  <a:rPr lang="en-US" sz="899" dirty="0">
                    <a:solidFill>
                      <a:srgbClr val="000000"/>
                    </a:solidFill>
                    <a:latin typeface="Prompt SemiBold" panose="00000700000000000000" pitchFamily="2" charset="-34"/>
                  </a:rPr>
                  <a:t>PLAN</a:t>
                </a:r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72A6B3D7-5B08-01B7-233F-531E96985082}"/>
                  </a:ext>
                </a:extLst>
              </p:cNvPr>
              <p:cNvGrpSpPr/>
              <p:nvPr/>
            </p:nvGrpSpPr>
            <p:grpSpPr>
              <a:xfrm>
                <a:off x="631716" y="4805888"/>
                <a:ext cx="5977445" cy="129435"/>
                <a:chOff x="631716" y="4789255"/>
                <a:chExt cx="5977445" cy="129435"/>
              </a:xfrm>
            </p:grpSpPr>
            <p:sp>
              <p:nvSpPr>
                <p:cNvPr id="36" name="TextBox 36"/>
                <p:cNvSpPr txBox="1"/>
                <p:nvPr/>
              </p:nvSpPr>
              <p:spPr>
                <a:xfrm>
                  <a:off x="3801600" y="4789255"/>
                  <a:ext cx="1490804" cy="1294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>
                          <a:alpha val="80000"/>
                        </a:srgbClr>
                      </a:solidFill>
                      <a:latin typeface="Prompt Medium"/>
                    </a:rPr>
                    <a:t>Responsible</a:t>
                  </a:r>
                </a:p>
              </p:txBody>
            </p:sp>
            <p:sp>
              <p:nvSpPr>
                <p:cNvPr id="37" name="TextBox 37"/>
                <p:cNvSpPr txBox="1"/>
                <p:nvPr/>
              </p:nvSpPr>
              <p:spPr>
                <a:xfrm>
                  <a:off x="631716" y="4789255"/>
                  <a:ext cx="1490804" cy="1294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>
                          <a:alpha val="80000"/>
                        </a:srgbClr>
                      </a:solidFill>
                      <a:latin typeface="Prompt Medium"/>
                    </a:rPr>
                    <a:t>Topics</a:t>
                  </a:r>
                </a:p>
              </p:txBody>
            </p:sp>
            <p:sp>
              <p:nvSpPr>
                <p:cNvPr id="38" name="TextBox 38"/>
                <p:cNvSpPr txBox="1"/>
                <p:nvPr/>
              </p:nvSpPr>
              <p:spPr>
                <a:xfrm>
                  <a:off x="5499106" y="4789255"/>
                  <a:ext cx="1110055" cy="1294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>
                          <a:alpha val="80000"/>
                        </a:srgbClr>
                      </a:solidFill>
                      <a:latin typeface="Prompt Medium"/>
                    </a:rPr>
                    <a:t>Duration</a:t>
                  </a:r>
                </a:p>
              </p:txBody>
            </p:sp>
          </p:grpSp>
        </p:grpSp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B37C477F-ABC4-36B2-79A6-BCD02A2D548D}"/>
                </a:ext>
              </a:extLst>
            </p:cNvPr>
            <p:cNvGrpSpPr/>
            <p:nvPr/>
          </p:nvGrpSpPr>
          <p:grpSpPr>
            <a:xfrm>
              <a:off x="587692" y="2216313"/>
              <a:ext cx="6384615" cy="1604523"/>
              <a:chOff x="587692" y="2216313"/>
              <a:chExt cx="6384615" cy="1604523"/>
            </a:xfrm>
          </p:grpSpPr>
          <p:sp>
            <p:nvSpPr>
              <p:cNvPr id="3" name="AutoShape 3"/>
              <p:cNvSpPr/>
              <p:nvPr/>
            </p:nvSpPr>
            <p:spPr>
              <a:xfrm>
                <a:off x="587692" y="2458517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" name="AutoShape 4"/>
              <p:cNvSpPr/>
              <p:nvPr/>
            </p:nvSpPr>
            <p:spPr>
              <a:xfrm>
                <a:off x="587692" y="2799097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" name="AutoShape 5"/>
              <p:cNvSpPr/>
              <p:nvPr/>
            </p:nvSpPr>
            <p:spPr>
              <a:xfrm>
                <a:off x="587692" y="3139677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" name="AutoShape 6"/>
              <p:cNvSpPr/>
              <p:nvPr/>
            </p:nvSpPr>
            <p:spPr>
              <a:xfrm>
                <a:off x="587692" y="3480257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AutoShape 7"/>
              <p:cNvSpPr/>
              <p:nvPr/>
            </p:nvSpPr>
            <p:spPr>
              <a:xfrm>
                <a:off x="587692" y="3820836"/>
                <a:ext cx="6384615" cy="0"/>
              </a:xfrm>
              <a:prstGeom prst="line">
                <a:avLst/>
              </a:prstGeom>
              <a:ln w="12700" cap="flat">
                <a:solidFill>
                  <a:srgbClr val="FFCEA1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TextBox 8"/>
              <p:cNvSpPr txBox="1"/>
              <p:nvPr/>
            </p:nvSpPr>
            <p:spPr>
              <a:xfrm>
                <a:off x="587692" y="2216313"/>
                <a:ext cx="962227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Time</a:t>
                </a:r>
              </a:p>
            </p:txBody>
          </p:sp>
          <p:sp>
            <p:nvSpPr>
              <p:cNvPr id="9" name="TextBox 9"/>
              <p:cNvSpPr txBox="1"/>
              <p:nvPr/>
            </p:nvSpPr>
            <p:spPr>
              <a:xfrm>
                <a:off x="3834538" y="2216313"/>
                <a:ext cx="1238432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Meeting Called by</a:t>
                </a:r>
              </a:p>
            </p:txBody>
          </p:sp>
          <p:sp>
            <p:nvSpPr>
              <p:cNvPr id="10" name="TextBox 10"/>
              <p:cNvSpPr txBox="1"/>
              <p:nvPr/>
            </p:nvSpPr>
            <p:spPr>
              <a:xfrm>
                <a:off x="3834538" y="2556893"/>
                <a:ext cx="1148668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Meeting purpose</a:t>
                </a:r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587692" y="2556893"/>
                <a:ext cx="962227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Date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3834538" y="2897473"/>
                <a:ext cx="1148668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Note taker</a:t>
                </a:r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587692" y="2897473"/>
                <a:ext cx="962227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Location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587692" y="3238053"/>
                <a:ext cx="962227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Attendees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587692" y="3578633"/>
                <a:ext cx="962227" cy="14382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dirty="0">
                    <a:solidFill>
                      <a:srgbClr val="000000"/>
                    </a:solidFill>
                    <a:latin typeface="Prompt Medium"/>
                  </a:rPr>
                  <a:t>Please Bring</a:t>
                </a:r>
              </a:p>
            </p:txBody>
          </p:sp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AF6B7B4D-7872-E4A8-0D24-3FBBA1EA9DF6}"/>
                </a:ext>
              </a:extLst>
            </p:cNvPr>
            <p:cNvGrpSpPr/>
            <p:nvPr/>
          </p:nvGrpSpPr>
          <p:grpSpPr>
            <a:xfrm>
              <a:off x="602916" y="0"/>
              <a:ext cx="6953584" cy="1613327"/>
              <a:chOff x="602916" y="0"/>
              <a:chExt cx="6953584" cy="1613327"/>
            </a:xfrm>
          </p:grpSpPr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638E208A-0503-008E-6530-F7A7FA14D3D0}"/>
                  </a:ext>
                </a:extLst>
              </p:cNvPr>
              <p:cNvSpPr/>
              <p:nvPr/>
            </p:nvSpPr>
            <p:spPr>
              <a:xfrm>
                <a:off x="5246701" y="0"/>
                <a:ext cx="2309799" cy="1613327"/>
              </a:xfrm>
              <a:custGeom>
                <a:avLst/>
                <a:gdLst>
                  <a:gd name="connsiteX0" fmla="*/ 0 w 2309799"/>
                  <a:gd name="connsiteY0" fmla="*/ 0 h 1613327"/>
                  <a:gd name="connsiteX1" fmla="*/ 2309799 w 2309799"/>
                  <a:gd name="connsiteY1" fmla="*/ 0 h 1613327"/>
                  <a:gd name="connsiteX2" fmla="*/ 2309799 w 2309799"/>
                  <a:gd name="connsiteY2" fmla="*/ 1613327 h 1613327"/>
                  <a:gd name="connsiteX3" fmla="*/ 823525 w 2309799"/>
                  <a:gd name="connsiteY3" fmla="*/ 1613327 h 1613327"/>
                  <a:gd name="connsiteX4" fmla="*/ 447413 w 2309799"/>
                  <a:gd name="connsiteY4" fmla="*/ 1342240 h 161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9799" h="1613327">
                    <a:moveTo>
                      <a:pt x="0" y="0"/>
                    </a:moveTo>
                    <a:lnTo>
                      <a:pt x="2309799" y="0"/>
                    </a:lnTo>
                    <a:lnTo>
                      <a:pt x="2309799" y="1613327"/>
                    </a:lnTo>
                    <a:lnTo>
                      <a:pt x="823525" y="1613327"/>
                    </a:lnTo>
                    <a:cubicBezTo>
                      <a:pt x="652878" y="1613327"/>
                      <a:pt x="501375" y="1504129"/>
                      <a:pt x="447413" y="1342240"/>
                    </a:cubicBezTo>
                    <a:close/>
                  </a:path>
                </a:pathLst>
              </a:custGeom>
              <a:solidFill>
                <a:srgbClr val="FEF1EB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839643BF-7B27-89C9-B95F-CD9B94CCE9F1}"/>
                  </a:ext>
                </a:extLst>
              </p:cNvPr>
              <p:cNvSpPr/>
              <p:nvPr/>
            </p:nvSpPr>
            <p:spPr>
              <a:xfrm>
                <a:off x="5441540" y="0"/>
                <a:ext cx="2114960" cy="1613327"/>
              </a:xfrm>
              <a:custGeom>
                <a:avLst/>
                <a:gdLst>
                  <a:gd name="connsiteX0" fmla="*/ 0 w 2114960"/>
                  <a:gd name="connsiteY0" fmla="*/ 0 h 1613327"/>
                  <a:gd name="connsiteX1" fmla="*/ 2114960 w 2114960"/>
                  <a:gd name="connsiteY1" fmla="*/ 0 h 1613327"/>
                  <a:gd name="connsiteX2" fmla="*/ 2114960 w 2114960"/>
                  <a:gd name="connsiteY2" fmla="*/ 1613327 h 1613327"/>
                  <a:gd name="connsiteX3" fmla="*/ 823525 w 2114960"/>
                  <a:gd name="connsiteY3" fmla="*/ 1613327 h 1613327"/>
                  <a:gd name="connsiteX4" fmla="*/ 447413 w 2114960"/>
                  <a:gd name="connsiteY4" fmla="*/ 1342240 h 161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14960" h="1613327">
                    <a:moveTo>
                      <a:pt x="0" y="0"/>
                    </a:moveTo>
                    <a:lnTo>
                      <a:pt x="2114960" y="0"/>
                    </a:lnTo>
                    <a:lnTo>
                      <a:pt x="2114960" y="1613327"/>
                    </a:lnTo>
                    <a:lnTo>
                      <a:pt x="823525" y="1613327"/>
                    </a:lnTo>
                    <a:cubicBezTo>
                      <a:pt x="652878" y="1613327"/>
                      <a:pt x="501375" y="1504129"/>
                      <a:pt x="447413" y="1342240"/>
                    </a:cubicBezTo>
                    <a:close/>
                  </a:path>
                </a:pathLst>
              </a:custGeom>
              <a:solidFill>
                <a:srgbClr val="F8723E"/>
              </a:solid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51" name="TextBox 51"/>
              <p:cNvSpPr txBox="1"/>
              <p:nvPr/>
            </p:nvSpPr>
            <p:spPr>
              <a:xfrm>
                <a:off x="602916" y="524631"/>
                <a:ext cx="4774249" cy="1088696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4179"/>
                  </a:lnSpc>
                </a:pPr>
                <a:r>
                  <a:rPr lang="en-US" sz="3799" b="1" spc="189" dirty="0">
                    <a:solidFill>
                      <a:srgbClr val="F8723E"/>
                    </a:solidFill>
                    <a:latin typeface="Prompt" panose="00000500000000000000" pitchFamily="2" charset="-34"/>
                  </a:rPr>
                  <a:t>MANAGEMENT MEETING AGENDA </a:t>
                </a:r>
              </a:p>
            </p:txBody>
          </p:sp>
          <p:sp>
            <p:nvSpPr>
              <p:cNvPr id="53" name="Freeform 53"/>
              <p:cNvSpPr/>
              <p:nvPr/>
            </p:nvSpPr>
            <p:spPr>
              <a:xfrm>
                <a:off x="6260550" y="431806"/>
                <a:ext cx="786098" cy="786098"/>
              </a:xfrm>
              <a:custGeom>
                <a:avLst/>
                <a:gdLst/>
                <a:ahLst/>
                <a:cxnLst/>
                <a:rect l="l" t="t" r="r" b="b"/>
                <a:pathLst>
                  <a:path w="786098" h="786098">
                    <a:moveTo>
                      <a:pt x="0" y="0"/>
                    </a:moveTo>
                    <a:lnTo>
                      <a:pt x="786099" y="0"/>
                    </a:lnTo>
                    <a:lnTo>
                      <a:pt x="786099" y="786098"/>
                    </a:lnTo>
                    <a:lnTo>
                      <a:pt x="0" y="786098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2" name="TemplateLAB"/>
            <p:cNvSpPr/>
            <p:nvPr/>
          </p:nvSpPr>
          <p:spPr>
            <a:xfrm rot="5400000">
              <a:off x="6851877" y="9279558"/>
              <a:ext cx="626438" cy="103362"/>
            </a:xfrm>
            <a:custGeom>
              <a:avLst/>
              <a:gdLst/>
              <a:ahLst/>
              <a:cxnLst/>
              <a:rect l="l" t="t" r="r" b="b"/>
              <a:pathLst>
                <a:path w="626438" h="103362">
                  <a:moveTo>
                    <a:pt x="0" y="0"/>
                  </a:moveTo>
                  <a:lnTo>
                    <a:pt x="626437" y="0"/>
                  </a:lnTo>
                  <a:lnTo>
                    <a:pt x="626437" y="103362"/>
                  </a:lnTo>
                  <a:lnTo>
                    <a:pt x="0" y="10336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22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Prompt Medium</vt:lpstr>
      <vt:lpstr>Calibri</vt:lpstr>
      <vt:lpstr>Arial</vt:lpstr>
      <vt:lpstr>Prompt</vt:lpstr>
      <vt:lpstr>Prompt Semi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Meeting agenda templates 2</dc:title>
  <dc:creator>Hoang Anh</dc:creator>
  <cp:lastModifiedBy>Hoang Anh</cp:lastModifiedBy>
  <cp:revision>7</cp:revision>
  <dcterms:created xsi:type="dcterms:W3CDTF">2006-08-16T00:00:00Z</dcterms:created>
  <dcterms:modified xsi:type="dcterms:W3CDTF">2023-11-24T07:20:27Z</dcterms:modified>
  <dc:identifier>DAF1Ch5ikuQ</dc:identifier>
</cp:coreProperties>
</file>